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9" autoAdjust="0"/>
    <p:restoredTop sz="94660"/>
  </p:normalViewPr>
  <p:slideViewPr>
    <p:cSldViewPr snapToGrid="0">
      <p:cViewPr>
        <p:scale>
          <a:sx n="125" d="100"/>
          <a:sy n="125" d="100"/>
        </p:scale>
        <p:origin x="-84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41D40-D66E-45AC-A40E-C609123457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BD11A0-0344-4A25-B88E-0DE601BEC6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51B29C-E51A-457A-9CED-63CAE01DA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6BAA17-C0ED-4E05-99BF-132DBF77B3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55B4FB-EC47-46B7-A10E-19ED37BEF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236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E78E9F-9CB0-4313-9604-BB5246BE1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BBED91-94E7-44B1-8CD0-449347D95C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7ED9A-5D07-43AA-9537-C52BBE4FFA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4E5806-0EDE-434A-AA1E-2F1A0DBB04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7F781C-9F47-4F52-8E04-392A9669D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147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CE92E3B-7B49-4400-895E-0C9C512B68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5943CD8-562D-4C17-9FA5-6A46C62136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455C44-6375-43B5-B7BA-17E10642D6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B55BF-2B76-4BDE-94B9-5FD2E7519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236025-FADB-4F38-BCAE-1DF057412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0864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B84EB6-CEE3-40B4-BA3C-26F617317F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F90F41-C7C4-453A-BEB4-120BEABE91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ECB511-4F81-452C-BC78-84B5868E7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B78F5E-169F-4AE5-9507-77A1BD6D5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CC930D-5BCB-46DA-9E86-47814FD1F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4122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0A51FE-4FC3-4582-BD08-161E7A549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E70AC8-386C-4550-9B1A-E1FA50E1DB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5DD4B0-8965-43DE-8C2F-2893BC231A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11CC37-CBBD-411A-BB22-9A5E49DD12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A23EB-CBA7-4405-A0F9-F63D24239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248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D8346B-D782-473C-B6BA-D90A3BBD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D0A212-6990-4AB1-855E-A3C8A246FA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800DF7-963C-4655-BA76-4FD810BB86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C8B050-0D24-4054-8BBA-95CBC2EF15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FDD3F5-2A96-428C-8592-890CBADF2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6FBFE4-53A4-477B-A4D7-A58E6B4D4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923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ADE26-8816-4A3A-846D-4932B51A67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BA7DAD-DFF8-480C-8C3D-2A71940B67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9C29DE-3FE8-4DF2-9D95-3CDE879EC9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DA9D4A-B640-4D79-A365-0629C874F3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5F01916-C611-4F10-A449-63CCEB6CF7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88652B-BFBB-425B-AC89-7A06AD91D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AC0250-76E2-436D-B461-F2CF83090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75C8406-85BC-4B01-A1E1-C4AD4F5CE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109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0CCDA-D98B-4B99-9EEE-9CFB3D304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67F15E-5693-4F9A-B548-BDE006E5E4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C6906D-D9D1-465F-89CC-4E6A1AB1E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D9D56A-0D93-43DF-8CE2-65292D8ED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280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2EE44D-7E52-40F0-BD71-303F5D1AAC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4B252A-8E42-4471-A3A6-07BC4BA476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CFD5E-6751-45E2-9E57-E205A2FD1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726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48A365-237B-40E5-91E1-AECC088A7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8D9001-B6B8-4DA2-AE29-7A2C812438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1EC570-B139-43B5-8052-3E404D0E3D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8A9B89-F05E-4C61-8170-A550CA0D4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7F4B03-B4DD-40D1-A342-2AE8CA741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11D0A5-8746-41BF-94E8-58C4D9AB4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918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C0630A-47C1-4218-8E00-83EE3DECB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A7F07E-56F3-4171-B0B0-27BC27E291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208E33-E670-4C73-9A55-82A5E68E02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FD608A-E541-4479-AA2B-BCA35227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5C9A7A-81C1-4151-946B-6E0D39D0E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19E9D7-059C-4195-B956-EBB4EA2D1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1539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2AE533-1785-4747-8F3C-84C6E3C92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77C5A5-7789-4A06-AC4B-765625761D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6CB5CA-FB18-4020-8578-9E45282FAE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D233CC-6D97-4E71-B2E5-9F2C3540C012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577741-2E67-4298-817E-6C2ACC91EA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6DE1D5-F07C-400E-84E2-46A375213F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55C6DB-F679-4EEA-BEF5-1FBB60B9BD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834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slideLayout" Target="../slideLayouts/slideLayout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678DB57-46E4-441C-A167-91F7832E1C29}"/>
              </a:ext>
            </a:extLst>
          </p:cNvPr>
          <p:cNvSpPr txBox="1">
            <a:spLocks/>
          </p:cNvSpPr>
          <p:nvPr/>
        </p:nvSpPr>
        <p:spPr>
          <a:xfrm>
            <a:off x="508010" y="432708"/>
            <a:ext cx="11171238" cy="33239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3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DD1D21"/>
                </a:solidFill>
              </a:rPr>
              <a:t>Enabler charter | </a:t>
            </a:r>
            <a:r>
              <a:rPr lang="en-US" sz="6200" dirty="0"/>
              <a:t>Rollout of PT2020 </a:t>
            </a:r>
            <a:r>
              <a:rPr lang="en-US" dirty="0"/>
              <a:t>Themes to STOGG activiti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E36AEF6-87BA-4A58-980F-5FB1613268F8}"/>
              </a:ext>
            </a:extLst>
          </p:cNvPr>
          <p:cNvGrpSpPr/>
          <p:nvPr/>
        </p:nvGrpSpPr>
        <p:grpSpPr>
          <a:xfrm>
            <a:off x="508010" y="1074046"/>
            <a:ext cx="11171238" cy="5387433"/>
            <a:chOff x="508010" y="1292087"/>
            <a:chExt cx="11171238" cy="5013249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834168C-8CAA-410B-93E5-D30E24FF9794}"/>
                </a:ext>
              </a:extLst>
            </p:cNvPr>
            <p:cNvGrpSpPr/>
            <p:nvPr/>
          </p:nvGrpSpPr>
          <p:grpSpPr>
            <a:xfrm>
              <a:off x="508010" y="1292087"/>
              <a:ext cx="11171238" cy="5013249"/>
              <a:chOff x="508010" y="1292087"/>
              <a:chExt cx="11171238" cy="501324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04AC6149-56F9-411C-8EB7-02A15FFBB216}"/>
                  </a:ext>
                </a:extLst>
              </p:cNvPr>
              <p:cNvSpPr/>
              <p:nvPr/>
            </p:nvSpPr>
            <p:spPr>
              <a:xfrm>
                <a:off x="508010" y="1292087"/>
                <a:ext cx="11171238" cy="5009322"/>
              </a:xfrm>
              <a:prstGeom prst="rect">
                <a:avLst/>
              </a:prstGeom>
              <a:solidFill>
                <a:srgbClr val="FFFFFF"/>
              </a:solidFill>
              <a:ln w="9525" cap="rnd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100" dirty="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6A7BEEB4-F532-40E4-B282-4ABC1F27C471}"/>
                  </a:ext>
                </a:extLst>
              </p:cNvPr>
              <p:cNvSpPr/>
              <p:nvPr/>
            </p:nvSpPr>
            <p:spPr>
              <a:xfrm>
                <a:off x="607400" y="1786923"/>
                <a:ext cx="5587990" cy="24344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Enabler name: Rollout of </a:t>
                </a: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PT2020 Themes to STOGG </a:t>
                </a: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activities</a:t>
                </a:r>
                <a:endParaRPr lang="en-US" sz="1100" dirty="0">
                  <a:solidFill>
                    <a:srgbClr val="404040">
                      <a:lumMod val="100000"/>
                    </a:srgbClr>
                  </a:solidFill>
                  <a:effectLst/>
                  <a:latin typeface="Futura Medium" panose="020B0502020204020303" pitchFamily="34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51F616AF-B2E5-478E-BDB8-6239BFC2A5C9}"/>
                  </a:ext>
                </a:extLst>
              </p:cNvPr>
              <p:cNvSpPr/>
              <p:nvPr/>
            </p:nvSpPr>
            <p:spPr>
              <a:xfrm>
                <a:off x="607400" y="5017793"/>
                <a:ext cx="5587990" cy="618521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DD1D21"/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Deliverables:</a:t>
                </a:r>
              </a:p>
              <a:p>
                <a:pPr marL="171450" lvl="1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Strawman for PT2020application to STOGG activities</a:t>
                </a:r>
              </a:p>
              <a:p>
                <a:pPr marL="171450" lvl="1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Developed pilot program for proof of concept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6A6A9E9-461F-4666-837C-08A75EC7C16B}"/>
                  </a:ext>
                </a:extLst>
              </p:cNvPr>
              <p:cNvSpPr/>
              <p:nvPr/>
            </p:nvSpPr>
            <p:spPr>
              <a:xfrm>
                <a:off x="607400" y="5712252"/>
                <a:ext cx="5587990" cy="593084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DD1D21"/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Teams/groups/assets/SOVs impacted/interdependencies</a:t>
                </a:r>
              </a:p>
              <a:p>
                <a:pPr marL="171450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effectLst/>
                    <a:latin typeface="Futura Medium" panose="020B0502020204020303" pitchFamily="34" charset="0"/>
                  </a:rPr>
                  <a:t>Teams impacted: </a:t>
                </a:r>
                <a:r>
                  <a:rPr lang="en-US" sz="1100" dirty="0" err="1">
                    <a:solidFill>
                      <a:srgbClr val="404040">
                        <a:lumMod val="100000"/>
                      </a:srgbClr>
                    </a:solidFill>
                    <a:effectLst/>
                    <a:latin typeface="Futura Medium" panose="020B0502020204020303" pitchFamily="34" charset="0"/>
                  </a:rPr>
                  <a:t>OneSS</a:t>
                </a: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effectLst/>
                    <a:latin typeface="Futura Medium" panose="020B0502020204020303" pitchFamily="34" charset="0"/>
                  </a:rPr>
                  <a:t> (particularly Asset SS teams</a:t>
                </a: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), central WRFM, CWI</a:t>
                </a:r>
                <a:endParaRPr lang="en-US" sz="1100" dirty="0">
                  <a:solidFill>
                    <a:srgbClr val="404040">
                      <a:lumMod val="100000"/>
                    </a:srgbClr>
                  </a:solidFill>
                  <a:effectLst/>
                  <a:latin typeface="Futura Medium" panose="020B0502020204020303" pitchFamily="34" charset="0"/>
                </a:endParaRPr>
              </a:p>
              <a:p>
                <a:pPr marL="171450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Applies to </a:t>
                </a:r>
                <a:r>
                  <a:rPr lang="en-US" sz="1100" dirty="0" err="1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SPDC</a:t>
                </a: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 opportunities only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19ED6730-2DA1-4A05-95ED-23F0AEACDAF0}"/>
                  </a:ext>
                </a:extLst>
              </p:cNvPr>
              <p:cNvSpPr/>
              <p:nvPr/>
            </p:nvSpPr>
            <p:spPr>
              <a:xfrm>
                <a:off x="6294782" y="2913635"/>
                <a:ext cx="5289817" cy="1831145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DD1D21"/>
                    </a:solidFill>
                    <a:latin typeface="Futura Medium" panose="020B0502020204020303" pitchFamily="34" charset="0"/>
                  </a:rPr>
                  <a:t>Implementation high level timeline (phases and milestones)</a:t>
                </a:r>
                <a:endParaRPr lang="en-US" sz="1100" dirty="0">
                  <a:solidFill>
                    <a:srgbClr val="DD1D21"/>
                  </a:solidFill>
                  <a:effectLst/>
                  <a:latin typeface="Futura Medium" panose="020B0502020204020303" pitchFamily="34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49E4283-DACB-4CF7-9024-EF1A9FC82042}"/>
                  </a:ext>
                </a:extLst>
              </p:cNvPr>
              <p:cNvSpPr/>
              <p:nvPr/>
            </p:nvSpPr>
            <p:spPr>
              <a:xfrm>
                <a:off x="607400" y="2348964"/>
                <a:ext cx="5587989" cy="260624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DD1D21"/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Enabler description and key benefits:</a:t>
                </a:r>
              </a:p>
              <a:p>
                <a:pPr marL="171450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PT2020 transformational themes (Competitive Scoping, Supply Chain Transformation, Efficient Execution and Technology &amp; Innovation) have delivered significant savings in Capital projects (&gt;40%)</a:t>
                </a:r>
              </a:p>
              <a:p>
                <a:pPr marL="171450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2021 Short Term Oil &amp; Gas Generation (STOGG) </a:t>
                </a:r>
                <a:r>
                  <a:rPr lang="en-US" sz="1100" dirty="0" err="1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activtity</a:t>
                </a: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 budget is $102mln for 52 activities. This is the expected spend level for the next few years. </a:t>
                </a:r>
              </a:p>
              <a:p>
                <a:pPr marL="171450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endParaRPr lang="en-US" sz="1100" dirty="0">
                  <a:solidFill>
                    <a:srgbClr val="7030A0"/>
                  </a:solidFill>
                  <a:latin typeface="Futura Medium" panose="020B0502020204020303" pitchFamily="34" charset="0"/>
                </a:endParaRPr>
              </a:p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DD1D21"/>
                    </a:solidFill>
                    <a:latin typeface="Futura Medium" panose="020B0502020204020303" pitchFamily="34" charset="0"/>
                  </a:rPr>
                  <a:t>Key benefits include: </a:t>
                </a:r>
              </a:p>
              <a:p>
                <a:pPr marL="171450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Based on the &gt;40% savings in PT2020 application in Capital projects, 20% savings is assumed for STOGG activities translating to the following savings at a budget level of ~$100mln per annum</a:t>
                </a:r>
              </a:p>
              <a:p>
                <a:pPr marL="628650" lvl="1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2021: 5 M$ (opportunities already in flight, 25% assumed)</a:t>
                </a:r>
              </a:p>
              <a:p>
                <a:pPr marL="628650" lvl="1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2022: 20 M$</a:t>
                </a:r>
              </a:p>
              <a:p>
                <a:pPr marL="628650" lvl="1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2023: 20 M$</a:t>
                </a:r>
              </a:p>
              <a:p>
                <a:pPr marL="628650" lvl="1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2024: 20 M$</a:t>
                </a:r>
              </a:p>
              <a:p>
                <a:pPr marL="628650" lvl="1" indent="-171450">
                  <a:buClr>
                    <a:srgbClr val="DD1D21">
                      <a:lumMod val="100000"/>
                    </a:srgbClr>
                  </a:buClr>
                  <a:buSzPct val="100000"/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</a:rPr>
                  <a:t>2025: 20 M$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72F64EA5-EFE2-43DF-B1F0-96EEACCE9C29}"/>
                  </a:ext>
                </a:extLst>
              </p:cNvPr>
              <p:cNvSpPr/>
              <p:nvPr/>
            </p:nvSpPr>
            <p:spPr>
              <a:xfrm>
                <a:off x="6294782" y="1390042"/>
                <a:ext cx="5289817" cy="24344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Sponsor: GM Development</a:t>
                </a:r>
                <a:endParaRPr lang="en-US" sz="1100" dirty="0">
                  <a:solidFill>
                    <a:srgbClr val="404040">
                      <a:lumMod val="100000"/>
                    </a:srgbClr>
                  </a:solidFill>
                  <a:effectLst/>
                  <a:latin typeface="Futura Medium" panose="020B0502020204020303" pitchFamily="34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49DD1BE1-841E-41BB-B768-3E39BCF3F40B}"/>
                  </a:ext>
                </a:extLst>
              </p:cNvPr>
              <p:cNvSpPr/>
              <p:nvPr/>
            </p:nvSpPr>
            <p:spPr>
              <a:xfrm>
                <a:off x="6294782" y="1737463"/>
                <a:ext cx="5289817" cy="113921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DD1D21"/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Implementation owner, governance, and team members:</a:t>
                </a:r>
              </a:p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404040"/>
                    </a:solidFill>
                    <a:latin typeface="Futura Medium" panose="020B0502020204020303" pitchFamily="34" charset="0"/>
                  </a:rPr>
                  <a:t>Implementation owner: ASM</a:t>
                </a:r>
              </a:p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404040"/>
                    </a:solidFill>
                    <a:latin typeface="Futura Medium" panose="020B0502020204020303" pitchFamily="34" charset="0"/>
                  </a:rPr>
                  <a:t>Governance:  GM Development,  CWI </a:t>
                </a:r>
                <a:r>
                  <a:rPr lang="en-US" sz="1100" dirty="0" err="1">
                    <a:solidFill>
                      <a:srgbClr val="404040"/>
                    </a:solidFill>
                    <a:latin typeface="Futura Medium" panose="020B0502020204020303" pitchFamily="34" charset="0"/>
                  </a:rPr>
                  <a:t>Mgr</a:t>
                </a:r>
                <a:r>
                  <a:rPr lang="en-US" sz="1100" dirty="0">
                    <a:solidFill>
                      <a:srgbClr val="404040"/>
                    </a:solidFill>
                    <a:latin typeface="Futura Medium" panose="020B0502020204020303" pitchFamily="34" charset="0"/>
                  </a:rPr>
                  <a:t>, WRFM/Technology Manager </a:t>
                </a:r>
              </a:p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404040"/>
                    </a:solidFill>
                    <a:latin typeface="Futura Medium" panose="020B0502020204020303" pitchFamily="34" charset="0"/>
                  </a:rPr>
                  <a:t>Team members: ASLs (1), Peter, Nodal Lead (3), CWI (1), Central WRFM (1), Asset BOM (1). Local PT2020 PMO (1)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457DC2C-2A66-4987-A008-09131CA0A745}"/>
                  </a:ext>
                </a:extLst>
              </p:cNvPr>
              <p:cNvSpPr/>
              <p:nvPr/>
            </p:nvSpPr>
            <p:spPr>
              <a:xfrm>
                <a:off x="607400" y="2013134"/>
                <a:ext cx="2503548" cy="24344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spAutoFit/>
              </a:bodyPr>
              <a:lstStyle/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Enabler level: </a:t>
                </a:r>
                <a:r>
                  <a:rPr lang="en-US" sz="1100" dirty="0" err="1">
                    <a:solidFill>
                      <a:srgbClr val="404040">
                        <a:lumMod val="100000"/>
                      </a:srgbClr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SPDC</a:t>
                </a:r>
                <a:endParaRPr lang="en-US" sz="1100" dirty="0">
                  <a:solidFill>
                    <a:srgbClr val="404040">
                      <a:lumMod val="100000"/>
                    </a:srgbClr>
                  </a:solidFill>
                  <a:effectLst/>
                  <a:latin typeface="Futura Medium" panose="020B0502020204020303" pitchFamily="34" charset="0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9768FB5A-9A8F-4372-B5CF-387D88596EA4}"/>
                  </a:ext>
                </a:extLst>
              </p:cNvPr>
              <p:cNvSpPr/>
              <p:nvPr/>
            </p:nvSpPr>
            <p:spPr>
              <a:xfrm>
                <a:off x="6294782" y="4815203"/>
                <a:ext cx="5289817" cy="674372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6E6F7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>
                <a:noAutofit/>
              </a:bodyPr>
              <a:lstStyle/>
              <a:p>
                <a:pPr>
                  <a:buClr>
                    <a:srgbClr val="DD1D21">
                      <a:lumMod val="100000"/>
                    </a:srgbClr>
                  </a:buClr>
                  <a:buSzPct val="100000"/>
                </a:pPr>
                <a:r>
                  <a:rPr lang="en-US" sz="1100" dirty="0">
                    <a:solidFill>
                      <a:srgbClr val="DD1D21"/>
                    </a:solidFill>
                    <a:latin typeface="Futura Medium" panose="020B0502020204020303" pitchFamily="34" charset="0"/>
                    <a:ea typeface="Times New Roman" panose="02020603050405020304" pitchFamily="18" charset="0"/>
                  </a:rPr>
                  <a:t>Key issues/risks/decisions:</a:t>
                </a:r>
                <a:endParaRPr lang="en-US" sz="1100" dirty="0">
                  <a:solidFill>
                    <a:srgbClr val="DD1D21"/>
                  </a:solidFill>
                  <a:effectLst/>
                  <a:latin typeface="Futura Medium" panose="020B0502020204020303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7F94380-7E53-4361-9677-100D124CB401}"/>
                </a:ext>
              </a:extLst>
            </p:cNvPr>
            <p:cNvGrpSpPr/>
            <p:nvPr/>
          </p:nvGrpSpPr>
          <p:grpSpPr>
            <a:xfrm>
              <a:off x="3200657" y="1330641"/>
              <a:ext cx="2645690" cy="441588"/>
              <a:chOff x="607400" y="1338525"/>
              <a:chExt cx="2645690" cy="441588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1FF21C50-222D-479B-848F-4B22641C03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607400" y="1338525"/>
                <a:ext cx="1370978" cy="441588"/>
              </a:xfrm>
              <a:prstGeom prst="rect">
                <a:avLst/>
              </a:prstGeom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E7F9AF8-8797-4314-B106-0E630CFEB8DE}"/>
                  </a:ext>
                </a:extLst>
              </p:cNvPr>
              <p:cNvSpPr txBox="1"/>
              <p:nvPr/>
            </p:nvSpPr>
            <p:spPr>
              <a:xfrm>
                <a:off x="2119446" y="1437599"/>
                <a:ext cx="1133644" cy="243440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100" dirty="0">
                    <a:solidFill>
                      <a:srgbClr val="DD1D21"/>
                    </a:solidFill>
                  </a:rPr>
                  <a:t>CONFIDENTIAL</a:t>
                </a: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6E98530-1AE1-4E84-846B-ED769BB99DD2}"/>
                </a:ext>
              </a:extLst>
            </p:cNvPr>
            <p:cNvSpPr/>
            <p:nvPr/>
          </p:nvSpPr>
          <p:spPr>
            <a:xfrm>
              <a:off x="3210338" y="2013167"/>
              <a:ext cx="2985052" cy="24344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>
              <a:spAutoFit/>
            </a:bodyPr>
            <a:lstStyle/>
            <a:p>
              <a:pPr>
                <a:buClr>
                  <a:srgbClr val="DD1D21">
                    <a:lumMod val="100000"/>
                  </a:srgbClr>
                </a:buClr>
                <a:buSzPct val="100000"/>
              </a:pPr>
              <a:r>
                <a:rPr lang="en-US" sz="1100" dirty="0">
                  <a:solidFill>
                    <a:srgbClr val="404040">
                      <a:lumMod val="100000"/>
                    </a:srgbClr>
                  </a:solidFill>
                  <a:latin typeface="Futura Medium" panose="020B0502020204020303" pitchFamily="34" charset="0"/>
                  <a:ea typeface="Times New Roman" panose="02020603050405020304" pitchFamily="18" charset="0"/>
                </a:rPr>
                <a:t>Implementation Deadline: End July 2021</a:t>
              </a:r>
              <a:endParaRPr lang="en-US" sz="1100" dirty="0">
                <a:solidFill>
                  <a:srgbClr val="404040">
                    <a:lumMod val="100000"/>
                  </a:srgbClr>
                </a:solidFill>
                <a:effectLst/>
                <a:latin typeface="Futura Medium" panose="020B0502020204020303" pitchFamily="34" charset="0"/>
              </a:endParaRPr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A98C2F7A-E270-44E2-94E7-B11338FBEC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1853" y="5066926"/>
            <a:ext cx="177726" cy="177800"/>
          </a:xfrm>
          <a:prstGeom prst="ellipse">
            <a:avLst/>
          </a:prstGeom>
          <a:solidFill>
            <a:srgbClr val="DD1D21"/>
          </a:solidFill>
          <a:ln w="7144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AU" sz="1100" dirty="0">
              <a:solidFill>
                <a:srgbClr val="FFFFFF"/>
              </a:solidFill>
              <a:cs typeface="Segoe UI"/>
              <a:sym typeface="Segoe U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039EC39-8BD2-416C-99CA-7B488C92BB50}"/>
              </a:ext>
            </a:extLst>
          </p:cNvPr>
          <p:cNvSpPr txBox="1"/>
          <p:nvPr/>
        </p:nvSpPr>
        <p:spPr>
          <a:xfrm>
            <a:off x="6563104" y="5027531"/>
            <a:ext cx="4669360" cy="6001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Mindset change by practitioners being an </a:t>
            </a:r>
            <a:r>
              <a:rPr lang="en-US" sz="1100" dirty="0" err="1">
                <a:solidFill>
                  <a:schemeClr val="tx1"/>
                </a:solidFill>
              </a:rPr>
              <a:t>NWW</a:t>
            </a:r>
            <a:endParaRPr lang="en-US" sz="1100" dirty="0">
              <a:solidFill>
                <a:schemeClr val="tx1"/>
              </a:solidFill>
            </a:endParaRPr>
          </a:p>
          <a:p>
            <a:r>
              <a:rPr lang="en-US" sz="1100" dirty="0">
                <a:solidFill>
                  <a:schemeClr val="tx1"/>
                </a:solidFill>
              </a:rPr>
              <a:t>Alignment of internal stakeholder – ASM, CWI, Central WRFM, Asset BOM</a:t>
            </a:r>
          </a:p>
          <a:p>
            <a:r>
              <a:rPr lang="en-US" sz="1100" dirty="0">
                <a:solidFill>
                  <a:schemeClr val="tx1"/>
                </a:solidFill>
              </a:rPr>
              <a:t>High UTC associated with inefficient planning and execution 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EBD4261-61C4-45CB-AA4F-FACD827736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1853" y="5251711"/>
            <a:ext cx="177726" cy="177800"/>
          </a:xfrm>
          <a:prstGeom prst="ellipse">
            <a:avLst/>
          </a:prstGeom>
          <a:solidFill>
            <a:srgbClr val="DD1D21"/>
          </a:solidFill>
          <a:ln w="7144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AU" sz="1100" dirty="0">
              <a:solidFill>
                <a:srgbClr val="FFFFFF"/>
              </a:solidFill>
              <a:cs typeface="Segoe UI"/>
              <a:sym typeface="Segoe UI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2E55BDD-BDAE-4A16-8DB6-D6864E9229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1853" y="5432051"/>
            <a:ext cx="177726" cy="177800"/>
          </a:xfrm>
          <a:prstGeom prst="ellipse">
            <a:avLst/>
          </a:prstGeom>
          <a:solidFill>
            <a:srgbClr val="DD1D21"/>
          </a:solidFill>
          <a:ln w="7144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AU" sz="1100" dirty="0">
              <a:solidFill>
                <a:srgbClr val="FFFFFF"/>
              </a:solidFill>
              <a:cs typeface="Segoe UI"/>
              <a:sym typeface="Segoe UI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11FA813-C752-4C2A-9A60-E095302E668C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8180388" y="3029668"/>
            <a:ext cx="263525" cy="265113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r>
              <a:rPr lang="en-US" altLang="en-US" sz="1200" dirty="0">
                <a:solidFill>
                  <a:srgbClr val="575757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2020</a:t>
            </a:r>
            <a:endParaRPr lang="en-US" sz="1200" dirty="0">
              <a:solidFill>
                <a:srgbClr val="575757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D52D34B-5B99-455C-A9D8-DDD89E58E1A4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443913" y="3029668"/>
            <a:ext cx="3100388" cy="265113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r>
              <a:rPr lang="en-US" altLang="en-US" sz="1200" dirty="0">
                <a:solidFill>
                  <a:srgbClr val="575757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2021</a:t>
            </a:r>
            <a:endParaRPr lang="en-US" sz="1200" dirty="0">
              <a:solidFill>
                <a:srgbClr val="575757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DF26581-1B4A-4538-B5B5-005E1BAC1FC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180388" y="3294780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84CA94B6-F0C5-4877-A25D-C4D88A96BA23}" type="datetime'''''''''''''''''''''''''''''D''e''''''''''''''''''''''c'''">
              <a:rPr lang="en-US" altLang="en-US" sz="1000" smtClean="0">
                <a:solidFill>
                  <a:srgbClr val="000000"/>
                </a:solidFill>
              </a:rPr>
              <a:pPr/>
              <a:t>Dec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63C4722-2A1F-43DC-9BE8-6975EB3B1DC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443913" y="3294780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95377500-0E26-4346-8E8B-4AD7775EAF34}" type="datetime'''''''''''''''J''''''''''a''''''''''n'''''''''''''">
              <a:rPr lang="en-US" altLang="en-US" sz="1000" smtClean="0">
                <a:solidFill>
                  <a:srgbClr val="000000"/>
                </a:solidFill>
              </a:rPr>
              <a:pPr/>
              <a:t>Jan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8C2B7B1-A967-4984-A242-D44268647A3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707438" y="3294780"/>
            <a:ext cx="2381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82A42BD0-4ECE-4C9E-BA58-A74674890050}" type="datetime'''''''''''''Fe''''''''''''''''b'''">
              <a:rPr lang="en-US" altLang="en-US" sz="1000" smtClean="0">
                <a:solidFill>
                  <a:srgbClr val="000000"/>
                </a:solidFill>
              </a:rPr>
              <a:pPr/>
              <a:t>Feb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90BE6EF-9A1F-4180-AD78-EFD335F77C7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945562" y="3294780"/>
            <a:ext cx="26193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DB235C5D-1432-4C01-BA3D-440B67BDB87E}" type="datetime'''''''''''''''M''''''''ar'''''''''''">
              <a:rPr lang="en-US" altLang="en-US" sz="1000" smtClean="0">
                <a:solidFill>
                  <a:srgbClr val="000000"/>
                </a:solidFill>
              </a:rPr>
              <a:pPr/>
              <a:t>Mar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F342900-23A0-4575-B24D-C907C21EDD8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207499" y="3294780"/>
            <a:ext cx="25558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6D207D55-F962-4A85-885B-BE2697956D25}" type="datetime'''''''''''''''''A''''''''''p''''''''''''''''r'''''''''''''">
              <a:rPr lang="en-US" altLang="en-US" sz="1000" smtClean="0">
                <a:solidFill>
                  <a:srgbClr val="000000"/>
                </a:solidFill>
              </a:rPr>
              <a:pPr/>
              <a:t>Apr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B651823-A458-4FEE-94EE-DE6B96CD233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463088" y="3294780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B9F40B70-8F15-4596-9AE1-9A62176CABE1}" type="datetime'''''M''''''''''''''''''''''''a''y'''''''">
              <a:rPr lang="en-US" altLang="en-US" sz="1000" smtClean="0">
                <a:solidFill>
                  <a:srgbClr val="000000"/>
                </a:solidFill>
              </a:rPr>
              <a:pPr/>
              <a:t>May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2158108-39F0-41A0-A559-E204FEF26A7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726612" y="3294780"/>
            <a:ext cx="25400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C170BB79-E473-496C-9E9D-4CD693404E3D}" type="datetime'''''''''''''''J''''''''u''''''''''''''''''''''''''n'''''''''''">
              <a:rPr lang="en-US" altLang="en-US" sz="1000" smtClean="0">
                <a:solidFill>
                  <a:srgbClr val="000000"/>
                </a:solidFill>
              </a:rPr>
              <a:pPr/>
              <a:t>Jun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210AA06-1DDF-405D-8385-C93F2FDC508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980613" y="3294780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146690E5-03EB-4ECD-B611-6DB6ED6F4EC6}" type="datetime'''''''''''J''''''''u''''l'''''''''''''''''''''''''''''''''">
              <a:rPr lang="en-US" altLang="en-US" sz="1000" smtClean="0">
                <a:solidFill>
                  <a:srgbClr val="000000"/>
                </a:solidFill>
              </a:rPr>
              <a:pPr/>
              <a:t>Jul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206EFFE-EF2F-4E13-8741-0C48E92C705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244138" y="3294780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BB2F48A0-CC25-4213-A395-3B209B951525}" type="datetime'''''''''''''''''''Aug'''''''''''">
              <a:rPr lang="en-US" altLang="en-US" sz="1000" smtClean="0">
                <a:solidFill>
                  <a:srgbClr val="000000"/>
                </a:solidFill>
              </a:rPr>
              <a:pPr/>
              <a:t>Aug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29F65D27-E1A5-44C0-9D3F-B77783B2656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507663" y="3294780"/>
            <a:ext cx="255588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21A0DBC3-7F8A-4B72-92F5-356D0A8293DC}" type="datetime'''''''''''''''''''''''''''''''S''''''''''''''''e''p'">
              <a:rPr lang="en-US" altLang="en-US" sz="1000" smtClean="0">
                <a:solidFill>
                  <a:srgbClr val="000000"/>
                </a:solidFill>
              </a:rPr>
              <a:pPr/>
              <a:t>Sep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BD3F1BA2-4BD4-412C-8E3E-AB220D253DE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763250" y="3294780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352334CF-C414-4A3B-AD16-20C957FF7172}" type="datetime'''''O''''''''''''''''''c''''''''t'''''''''''''''''''''''">
              <a:rPr lang="en-US" altLang="en-US" sz="1000" smtClean="0">
                <a:solidFill>
                  <a:srgbClr val="000000"/>
                </a:solidFill>
              </a:rPr>
              <a:pPr/>
              <a:t>Oct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2CD6BF-52D3-417F-8C3C-10DDD7AB2C0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1026774" y="3294780"/>
            <a:ext cx="254000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B25132B6-3D46-4036-AD18-833BEEBB64A0}" type="datetime'''''''''''''''''''N''''''''''''''o''v'''''">
              <a:rPr lang="en-US" altLang="en-US" sz="1000" smtClean="0">
                <a:solidFill>
                  <a:srgbClr val="000000"/>
                </a:solidFill>
              </a:rPr>
              <a:pPr/>
              <a:t>Nov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D8144CC-AFCA-466C-A7BE-012B347ABCC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280775" y="3294780"/>
            <a:ext cx="263525" cy="234950"/>
          </a:xfrm>
          <a:prstGeom prst="rect">
            <a:avLst/>
          </a:prstGeom>
          <a:noFill/>
          <a:effectLst/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BB19C280-BEC8-4722-B008-9B0B6E9C4F4D}" type="datetime'D''''e''''''''''''''''''''''''c'''">
              <a:rPr lang="en-US" altLang="en-US" sz="1000" smtClean="0">
                <a:solidFill>
                  <a:srgbClr val="000000"/>
                </a:solidFill>
              </a:rPr>
              <a:pPr/>
              <a:t>Dec</a:t>
            </a:fld>
            <a:endParaRPr lang="en-US" sz="1000" dirty="0">
              <a:solidFill>
                <a:srgbClr val="00000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8D31A3A-74E7-4C95-B781-88F51A08856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8443913" y="3294780"/>
            <a:ext cx="310038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FDF8E7F-D252-43A7-92F5-857469E6DDB0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8180388" y="3294780"/>
            <a:ext cx="2635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751B85D-ECC5-4F17-96AD-C121559EA2C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8180388" y="3529730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BEF4D34-53C8-41EA-9AEA-0D35345EAB4F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8707438" y="3529730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7105009-AADA-453E-AD1D-526109795B26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8443913" y="3529730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E6F3B44-9F61-4231-A501-A72D1876C5C5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10244138" y="3529730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1165B8D-22C1-4E51-A973-B165962B880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9980613" y="3529729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DDC68BD-8088-4DC7-ADBB-B7F712621FB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11280775" y="3529730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1466856-1EB5-4380-8A0C-6540A0AC8F78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10763250" y="3529730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E5897A5-B7D2-4905-B4C1-44E3CE5B9BD9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8945563" y="3529730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3759B4F-1F71-4D56-9631-596F176AC8A5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9207500" y="3529730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31A3EDF-26F2-4C72-A6AE-018BDA316ADE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9726613" y="3529730"/>
            <a:ext cx="0" cy="9461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A50C0C9-323D-435C-A817-5CC91B7D4D2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10507663" y="3529730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BF830CC-EA12-4BF1-89B4-E18B9BECEECF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9463088" y="3529729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E0F896B-80B2-4C37-A19A-4BB2FE15247C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1026775" y="3529730"/>
            <a:ext cx="0" cy="94615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D613903-306B-4577-B321-718225BE538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6353175" y="3529730"/>
            <a:ext cx="51911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Arrow: Left 55">
            <a:extLst>
              <a:ext uri="{FF2B5EF4-FFF2-40B4-BE49-F238E27FC236}">
                <a16:creationId xmlns:a16="http://schemas.microsoft.com/office/drawing/2014/main" id="{CFF5879C-5AB3-46C2-9C73-2866F6A61040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8450263" y="3528142"/>
            <a:ext cx="752484" cy="238125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CB31F93-D0EF-4919-BB64-8E1E2C5E20E9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9212254" y="4009858"/>
            <a:ext cx="301628" cy="134938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595959"/>
              </a:solidFill>
              <a:cs typeface="Arial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B00B870-F950-4462-AC55-41CE8916573D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9513887" y="4263156"/>
            <a:ext cx="738189" cy="136526"/>
          </a:xfrm>
          <a:prstGeom prst="rect">
            <a:avLst/>
          </a:prstGeom>
          <a:solidFill>
            <a:srgbClr val="FBCE07"/>
          </a:solidFill>
          <a:ln w="9525" algn="ctr">
            <a:solidFill>
              <a:srgbClr val="FBCE0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>
              <a:solidFill>
                <a:srgbClr val="595959"/>
              </a:solidFill>
              <a:cs typeface="Arial" pitchFamily="34" charset="0"/>
            </a:endParaRPr>
          </a:p>
        </p:txBody>
      </p: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3B57C463-B424-49D5-A702-F6EF503E1CE1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10175876" y="4255219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595959"/>
              </a:solidFill>
            </a:endParaRP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08001330-C6BB-45A5-90CD-72C1C4C347BC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9101146" y="3571004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595959"/>
              </a:solidFill>
            </a:endParaRPr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27ED3B74-9ABC-42C4-99DF-4E17DB5D95E9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458335" y="4007794"/>
            <a:ext cx="152400" cy="152400"/>
          </a:xfrm>
          <a:prstGeom prst="triangle">
            <a:avLst/>
          </a:prstGeom>
          <a:solidFill>
            <a:srgbClr val="C41300"/>
          </a:solidFill>
          <a:ln w="9525" cap="rnd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595959"/>
              </a:solidFill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6854E3B-8E7B-4975-8407-571EAA65DDF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353175" y="3585293"/>
            <a:ext cx="1147763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Font typeface="Arial" pitchFamily="34" charset="0"/>
              <a:buNone/>
            </a:pPr>
            <a:r>
              <a:rPr lang="en-US" altLang="en-US" sz="1000" dirty="0">
                <a:solidFill>
                  <a:srgbClr val="404040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Develop strawman for PT2020</a:t>
            </a:r>
          </a:p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Font typeface="Arial" pitchFamily="34" charset="0"/>
              <a:buNone/>
            </a:pPr>
            <a:r>
              <a:rPr lang="en-US" sz="1000" dirty="0">
                <a:solidFill>
                  <a:srgbClr val="404040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Application to STOGG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890064A2-C7C4-446A-BCC9-81E569F2189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354047" y="4007801"/>
            <a:ext cx="823913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r>
              <a:rPr lang="en-US" sz="1000" dirty="0">
                <a:solidFill>
                  <a:srgbClr val="404040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Get endorsement by Governance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2AF141B6-EFE3-4689-B803-0C9094A643C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353175" y="4267918"/>
            <a:ext cx="1643063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r>
              <a:rPr lang="en-US" altLang="en-US" sz="1000" dirty="0">
                <a:solidFill>
                  <a:srgbClr val="404040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Roll out PT2020 application to</a:t>
            </a:r>
          </a:p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r>
              <a:rPr lang="en-US" sz="1000" dirty="0">
                <a:solidFill>
                  <a:srgbClr val="404040"/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STOGG guide/</a:t>
            </a:r>
            <a:r>
              <a:rPr lang="en-US" sz="1000" dirty="0">
                <a:latin typeface="Futura Medium" panose="020B0502020204020303" pitchFamily="34" charset="0"/>
                <a:sym typeface="Futura Medium" panose="020B0502020204020303" pitchFamily="34" charset="0"/>
              </a:rPr>
              <a:t>pilot program</a:t>
            </a:r>
          </a:p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endParaRPr lang="en-US" sz="1000" dirty="0">
              <a:solidFill>
                <a:srgbClr val="404040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6A777066-E524-406C-8791-37F967F2511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353175" y="3305893"/>
            <a:ext cx="463550" cy="182563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None/>
            </a:pPr>
            <a:fld id="{C7BCE910-F840-4825-B407-D8401EA1BA0D}" type="datetime'A''''''c''t''''''''''i''''v''''''''''''i''t''''''''y'''">
              <a:rPr lang="en-US" altLang="en-US" sz="1200" smtClean="0">
                <a:solidFill>
                  <a:srgbClr val="575757"/>
                </a:solidFill>
              </a:rPr>
              <a:pPr/>
              <a:t>Activity</a:t>
            </a:fld>
            <a:endParaRPr lang="en-US" sz="1200" dirty="0">
              <a:solidFill>
                <a:srgbClr val="575757"/>
              </a:solidFill>
              <a:latin typeface="Futura Medium" panose="020B0502020204020303" pitchFamily="34" charset="0"/>
              <a:sym typeface="Futura Medium" panose="020B0502020204020303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204FC17-A5AF-4918-91EB-B936AC403F21}"/>
              </a:ext>
            </a:extLst>
          </p:cNvPr>
          <p:cNvSpPr/>
          <p:nvPr/>
        </p:nvSpPr>
        <p:spPr>
          <a:xfrm>
            <a:off x="6292410" y="5643250"/>
            <a:ext cx="5289817" cy="83386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>
            <a:noAutofit/>
          </a:bodyPr>
          <a:lstStyle/>
          <a:p>
            <a:pPr>
              <a:buClr>
                <a:srgbClr val="DD1D21">
                  <a:lumMod val="100000"/>
                </a:srgbClr>
              </a:buClr>
              <a:buSzPct val="100000"/>
            </a:pPr>
            <a:r>
              <a:rPr lang="en-US" sz="1200" dirty="0">
                <a:solidFill>
                  <a:srgbClr val="DD1D21"/>
                </a:solidFill>
                <a:latin typeface="Futura Medium" panose="020B0502020204020303" pitchFamily="34" charset="0"/>
                <a:ea typeface="Times New Roman" panose="02020603050405020304" pitchFamily="18" charset="0"/>
              </a:rPr>
              <a:t>Commitments</a:t>
            </a:r>
          </a:p>
          <a:p>
            <a:pPr>
              <a:buClr>
                <a:srgbClr val="DD1D21">
                  <a:lumMod val="100000"/>
                </a:srgbClr>
              </a:buClr>
              <a:buSzPct val="100000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Futura Medium" panose="020B0502020204020303" pitchFamily="34" charset="0"/>
              </a:rPr>
              <a:t> - </a:t>
            </a:r>
            <a:r>
              <a:rPr lang="en-US" sz="11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</a:rPr>
              <a:t>Confirm ownership – W3 </a:t>
            </a:r>
          </a:p>
          <a:p>
            <a:pPr>
              <a:buClr>
                <a:srgbClr val="DD1D21">
                  <a:lumMod val="100000"/>
                </a:srgbClr>
              </a:buClr>
              <a:buSzPct val="100000"/>
            </a:pPr>
            <a:r>
              <a:rPr lang="en-US" sz="11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</a:rPr>
              <a:t> - Reconfirm impact ($$) – W3</a:t>
            </a:r>
          </a:p>
          <a:p>
            <a:pPr marL="0" lvl="1" indent="0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Font typeface="Arial" pitchFamily="34" charset="0"/>
              <a:buNone/>
            </a:pPr>
            <a:r>
              <a:rPr lang="en-US" sz="11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</a:rPr>
              <a:t>- Commence strawman for </a:t>
            </a:r>
            <a:r>
              <a:rPr lang="en-US" altLang="en-US" sz="11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PT2020 </a:t>
            </a:r>
            <a:r>
              <a:rPr lang="en-US" sz="11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  <a:sym typeface="Futura Medium" panose="020B0502020204020303" pitchFamily="34" charset="0"/>
              </a:rPr>
              <a:t>Application to STOGG </a:t>
            </a:r>
            <a:r>
              <a:rPr lang="en-US" sz="1100" dirty="0">
                <a:solidFill>
                  <a:srgbClr val="404040">
                    <a:lumMod val="100000"/>
                  </a:srgbClr>
                </a:solidFill>
                <a:latin typeface="Futura Medium" panose="020B0502020204020303" pitchFamily="34" charset="0"/>
              </a:rPr>
              <a:t>- Feb</a:t>
            </a:r>
          </a:p>
        </p:txBody>
      </p:sp>
    </p:spTree>
    <p:extLst>
      <p:ext uri="{BB962C8B-B14F-4D97-AF65-F5344CB8AC3E}">
        <p14:creationId xmlns:p14="http://schemas.microsoft.com/office/powerpoint/2010/main" val="2558072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Oh8aLsn9GJIlDBfsj1R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QWY892L3uEbK_ixH5K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4lvXdKcQAd1.d8ufi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WLxnla5m4iNL.h9C_7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eHex5AP8xRCk0aCyNX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KBuSUh1VR_hh0cSk6Y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PhnzjDOQacHjmmyVQx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qLK1xFvLaX_MYNG8Dg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7RP_fczxuqqcZAjPbR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_B_X0q4HJprbLWO_G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PVvjjD0J.XWR9lxj57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gB03ZsVOeVUoN1jroV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Ey.K8KnrogvY4V6FT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FIPxwilAmZ2IQISZk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GyXRKqVGeE6kJFEp1s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cC_CvedaYBG2XIeA9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QpLTivwDBiaxkNZtCR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8oWOWWsZQ1gy_9lnWs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wGPIvdqvpD4.9r3eU2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BWiW2NebzV0kqDRyh79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IkO7LAFpj_s4f1KN_w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MfEhGJsvyQuqbYzzPF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jbGc8KK32BnSmKWeKx1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FP3jP7MMX3261L3XMi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6E6toCwPOPxm_iImNw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VH8q_ZtRa2mrgiWAkS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LaoVqEYiyz3hA0D3gw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exzG48qo4o0qmTmer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08s_eU3ihTru6xvUSi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p7SPBmGSS.da9hBgN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sHLdRFjNoK7GJStGL0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lHqOQAgJmYGPT1tMF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bzsiWvIhsSObSzIYTA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kaz7A7tCiR8SDh4TT5e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8t0bDOCN4VZ3gJNSVb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hs5EPP6a9fL.UMvKIW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_AliqY36KhVzTmt.0k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Xto8Drkj9NRPefJ4dE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6R05AQlpwpeaJ7pgc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DYPQWLjJ9oPltbqjwF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XjrvaOFoEjLjUOGw8as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1</TotalTime>
  <Words>384</Words>
  <Application>Microsoft Office PowerPoint</Application>
  <PresentationFormat>Widescreen</PresentationFormat>
  <Paragraphs>5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Futura Medium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sadjere, Peter M SPDC-PTD/C/N</dc:creator>
  <cp:lastModifiedBy>Nnanna, Erasmus J SPDC-PTD/C/NCW</cp:lastModifiedBy>
  <cp:revision>13</cp:revision>
  <dcterms:created xsi:type="dcterms:W3CDTF">2021-01-28T07:46:03Z</dcterms:created>
  <dcterms:modified xsi:type="dcterms:W3CDTF">2021-02-03T13:25:54Z</dcterms:modified>
</cp:coreProperties>
</file>